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1"/>
  </p:sldMasterIdLst>
  <p:sldIdLst>
    <p:sldId id="256" r:id="rId2"/>
    <p:sldId id="257" r:id="rId3"/>
  </p:sldIdLst>
  <p:sldSz cx="12192000" cy="16256000"/>
  <p:notesSz cx="6811963" cy="9942513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Untitled Section" id="{F5BF47A0-C444-493C-BE27-A05EC26B067F}">
          <p14:sldIdLst>
            <p14:sldId id="256"/>
            <p14:sldId id="25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512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4660"/>
  </p:normalViewPr>
  <p:slideViewPr>
    <p:cSldViewPr snapToObjects="1">
      <p:cViewPr varScale="1">
        <p:scale>
          <a:sx n="44" d="100"/>
          <a:sy n="44" d="100"/>
        </p:scale>
        <p:origin x="2334" y="36"/>
      </p:cViewPr>
      <p:guideLst>
        <p:guide orient="horz" pos="512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36004" cy="36004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660416"/>
            <a:ext cx="10363200" cy="5659496"/>
          </a:xfrm>
        </p:spPr>
        <p:txBody>
          <a:bodyPr anchor="b"/>
          <a:lstStyle>
            <a:lvl1pPr algn="ctr"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8538164"/>
            <a:ext cx="9144000" cy="3924769"/>
          </a:xfrm>
        </p:spPr>
        <p:txBody>
          <a:bodyPr/>
          <a:lstStyle>
            <a:lvl1pPr marL="0" indent="0" algn="ctr">
              <a:buNone/>
              <a:defRPr sz="3200"/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0C4B5-8E2F-4CDB-9E8E-2FC7E90CEC3B}" type="datetimeFigureOut">
              <a:rPr lang="en-GB" smtClean="0"/>
              <a:t>14/01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702A2-687B-4E8B-A77A-EED3561A5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3807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0C4B5-8E2F-4CDB-9E8E-2FC7E90CEC3B}" type="datetimeFigureOut">
              <a:rPr lang="en-GB" smtClean="0"/>
              <a:t>14/01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702A2-687B-4E8B-A77A-EED3561A5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625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865481"/>
            <a:ext cx="2628900" cy="13776209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865481"/>
            <a:ext cx="7734300" cy="1377620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0C4B5-8E2F-4CDB-9E8E-2FC7E90CEC3B}" type="datetimeFigureOut">
              <a:rPr lang="en-GB" smtClean="0"/>
              <a:t>14/01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702A2-687B-4E8B-A77A-EED3561A5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33724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0C4B5-8E2F-4CDB-9E8E-2FC7E90CEC3B}" type="datetimeFigureOut">
              <a:rPr lang="en-GB" smtClean="0"/>
              <a:t>14/01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702A2-687B-4E8B-A77A-EED3561A5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39852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4052716"/>
            <a:ext cx="10515600" cy="6762043"/>
          </a:xfrm>
        </p:spPr>
        <p:txBody>
          <a:bodyPr anchor="b"/>
          <a:lstStyle>
            <a:lvl1pPr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10878731"/>
            <a:ext cx="10515600" cy="3555999"/>
          </a:xfrm>
        </p:spPr>
        <p:txBody>
          <a:bodyPr/>
          <a:lstStyle>
            <a:lvl1pPr marL="0" indent="0">
              <a:buNone/>
              <a:defRPr sz="320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0C4B5-8E2F-4CDB-9E8E-2FC7E90CEC3B}" type="datetimeFigureOut">
              <a:rPr lang="en-GB" smtClean="0"/>
              <a:t>14/01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702A2-687B-4E8B-A77A-EED3561A5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81499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4327407"/>
            <a:ext cx="5181600" cy="1031428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4327407"/>
            <a:ext cx="5181600" cy="1031428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0C4B5-8E2F-4CDB-9E8E-2FC7E90CEC3B}" type="datetimeFigureOut">
              <a:rPr lang="en-GB" smtClean="0"/>
              <a:t>14/01/2016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702A2-687B-4E8B-A77A-EED3561A5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99341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865485"/>
            <a:ext cx="10515600" cy="3142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3984979"/>
            <a:ext cx="5157787" cy="1952977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5937956"/>
            <a:ext cx="5157787" cy="87338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3984979"/>
            <a:ext cx="5183188" cy="1952977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5937956"/>
            <a:ext cx="5183188" cy="87338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0C4B5-8E2F-4CDB-9E8E-2FC7E90CEC3B}" type="datetimeFigureOut">
              <a:rPr lang="en-GB" smtClean="0"/>
              <a:t>14/01/2016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702A2-687B-4E8B-A77A-EED3561A5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09144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0C4B5-8E2F-4CDB-9E8E-2FC7E90CEC3B}" type="datetimeFigureOut">
              <a:rPr lang="en-GB" smtClean="0"/>
              <a:t>14/01/2016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702A2-687B-4E8B-A77A-EED3561A5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99903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0C4B5-8E2F-4CDB-9E8E-2FC7E90CEC3B}" type="datetimeFigureOut">
              <a:rPr lang="en-GB" smtClean="0"/>
              <a:t>14/01/2016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702A2-687B-4E8B-A77A-EED3561A5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1562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1083733"/>
            <a:ext cx="3932237" cy="3793067"/>
          </a:xfrm>
        </p:spPr>
        <p:txBody>
          <a:bodyPr anchor="b"/>
          <a:lstStyle>
            <a:lvl1pPr>
              <a:defRPr sz="4267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2340567"/>
            <a:ext cx="6172200" cy="11552296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4876800"/>
            <a:ext cx="3932237" cy="9034875"/>
          </a:xfrm>
        </p:spPr>
        <p:txBody>
          <a:bodyPr/>
          <a:lstStyle>
            <a:lvl1pPr marL="0" indent="0">
              <a:buNone/>
              <a:defRPr sz="2133"/>
            </a:lvl1pPr>
            <a:lvl2pPr marL="609585" indent="0">
              <a:buNone/>
              <a:defRPr sz="1867"/>
            </a:lvl2pPr>
            <a:lvl3pPr marL="1219170" indent="0">
              <a:buNone/>
              <a:defRPr sz="1600"/>
            </a:lvl3pPr>
            <a:lvl4pPr marL="1828754" indent="0">
              <a:buNone/>
              <a:defRPr sz="1333"/>
            </a:lvl4pPr>
            <a:lvl5pPr marL="2438339" indent="0">
              <a:buNone/>
              <a:defRPr sz="1333"/>
            </a:lvl5pPr>
            <a:lvl6pPr marL="3047924" indent="0">
              <a:buNone/>
              <a:defRPr sz="1333"/>
            </a:lvl6pPr>
            <a:lvl7pPr marL="3657509" indent="0">
              <a:buNone/>
              <a:defRPr sz="1333"/>
            </a:lvl7pPr>
            <a:lvl8pPr marL="4267093" indent="0">
              <a:buNone/>
              <a:defRPr sz="1333"/>
            </a:lvl8pPr>
            <a:lvl9pPr marL="4876678" indent="0">
              <a:buNone/>
              <a:defRPr sz="1333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0C4B5-8E2F-4CDB-9E8E-2FC7E90CEC3B}" type="datetimeFigureOut">
              <a:rPr lang="en-GB" smtClean="0"/>
              <a:t>14/01/2016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702A2-687B-4E8B-A77A-EED3561A5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33067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1083733"/>
            <a:ext cx="3932237" cy="3793067"/>
          </a:xfrm>
        </p:spPr>
        <p:txBody>
          <a:bodyPr anchor="b"/>
          <a:lstStyle>
            <a:lvl1pPr>
              <a:defRPr sz="4267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2340567"/>
            <a:ext cx="6172200" cy="11552296"/>
          </a:xfrm>
        </p:spPr>
        <p:txBody>
          <a:bodyPr anchor="t"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4876800"/>
            <a:ext cx="3932237" cy="9034875"/>
          </a:xfrm>
        </p:spPr>
        <p:txBody>
          <a:bodyPr/>
          <a:lstStyle>
            <a:lvl1pPr marL="0" indent="0">
              <a:buNone/>
              <a:defRPr sz="2133"/>
            </a:lvl1pPr>
            <a:lvl2pPr marL="609585" indent="0">
              <a:buNone/>
              <a:defRPr sz="1867"/>
            </a:lvl2pPr>
            <a:lvl3pPr marL="1219170" indent="0">
              <a:buNone/>
              <a:defRPr sz="1600"/>
            </a:lvl3pPr>
            <a:lvl4pPr marL="1828754" indent="0">
              <a:buNone/>
              <a:defRPr sz="1333"/>
            </a:lvl4pPr>
            <a:lvl5pPr marL="2438339" indent="0">
              <a:buNone/>
              <a:defRPr sz="1333"/>
            </a:lvl5pPr>
            <a:lvl6pPr marL="3047924" indent="0">
              <a:buNone/>
              <a:defRPr sz="1333"/>
            </a:lvl6pPr>
            <a:lvl7pPr marL="3657509" indent="0">
              <a:buNone/>
              <a:defRPr sz="1333"/>
            </a:lvl7pPr>
            <a:lvl8pPr marL="4267093" indent="0">
              <a:buNone/>
              <a:defRPr sz="1333"/>
            </a:lvl8pPr>
            <a:lvl9pPr marL="4876678" indent="0">
              <a:buNone/>
              <a:defRPr sz="1333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00C4B5-8E2F-4CDB-9E8E-2FC7E90CEC3B}" type="datetimeFigureOut">
              <a:rPr lang="en-GB" smtClean="0"/>
              <a:t>14/01/2016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702A2-687B-4E8B-A77A-EED3561A5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56542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865485"/>
            <a:ext cx="10515600" cy="3142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4327407"/>
            <a:ext cx="10515600" cy="103142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15066908"/>
            <a:ext cx="2743200" cy="8654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00C4B5-8E2F-4CDB-9E8E-2FC7E90CEC3B}" type="datetimeFigureOut">
              <a:rPr lang="en-GB" smtClean="0"/>
              <a:t>14/01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15066908"/>
            <a:ext cx="4114800" cy="8654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15066908"/>
            <a:ext cx="2743200" cy="8654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2702A2-687B-4E8B-A77A-EED3561A539A}" type="slidenum">
              <a:rPr lang="en-GB" smtClean="0"/>
              <a:t>‹#›</a:t>
            </a:fld>
            <a:endParaRPr lang="en-GB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458667064"/>
              </p:ext>
            </p:extLst>
          </p:nvPr>
        </p:nvGraphicFramePr>
        <p:xfrm>
          <a:off x="2119" y="3770"/>
          <a:ext cx="2116" cy="37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8" name="think-cell Slide" r:id="rId15" imgW="493" imgH="493" progId="TCLayout.ActiveDocument.1">
                  <p:embed/>
                </p:oleObj>
              </mc:Choice>
              <mc:Fallback>
                <p:oleObj name="think-cell Slide" r:id="rId1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9" y="3770"/>
                        <a:ext cx="2116" cy="37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81329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9801670"/>
              </p:ext>
            </p:extLst>
          </p:nvPr>
        </p:nvGraphicFramePr>
        <p:xfrm>
          <a:off x="4167859" y="6682062"/>
          <a:ext cx="670" cy="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167859" y="6682062"/>
                        <a:ext cx="670" cy="6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96254" y="2311659"/>
            <a:ext cx="12384505" cy="14319162"/>
          </a:xfrm>
          <a:prstGeom prst="rect">
            <a:avLst/>
          </a:prstGeom>
          <a:gradFill rotWithShape="1">
            <a:gsLst>
              <a:gs pos="0">
                <a:srgbClr val="793278"/>
              </a:gs>
              <a:gs pos="100000">
                <a:srgbClr val="EA9336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838200" y="12693945"/>
            <a:ext cx="10515600" cy="3142075"/>
          </a:xfrm>
        </p:spPr>
        <p:txBody>
          <a:bodyPr>
            <a:noAutofit/>
          </a:bodyPr>
          <a:lstStyle/>
          <a:p>
            <a:pPr lvl="0" defTabSz="914400" eaLnBrk="0" fontAlgn="base" hangingPunct="0">
              <a:lnSpc>
                <a:spcPct val="100000"/>
              </a:lnSpc>
              <a:spcAft>
                <a:spcPts val="800"/>
              </a:spcAft>
            </a:pPr>
            <a:r>
              <a:rPr lang="nl-NL" altLang="nl-NL" sz="2400" dirty="0">
                <a:solidFill>
                  <a:srgbClr val="FFFFFF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nl-NL" altLang="nl-NL" sz="2400" dirty="0">
                <a:solidFill>
                  <a:srgbClr val="FFFFFF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nl-NL" altLang="nl-NL" sz="2400" dirty="0" smtClean="0">
                <a:solidFill>
                  <a:srgbClr val="FFFFFF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nl-NL" altLang="nl-NL" sz="2400" dirty="0" smtClean="0">
                <a:solidFill>
                  <a:srgbClr val="FFFFFF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nl-NL" altLang="nl-NL" sz="2400" dirty="0" smtClean="0">
                <a:solidFill>
                  <a:srgbClr val="FFFFFF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nl-NL" altLang="nl-NL" sz="2400" dirty="0" smtClean="0">
                <a:solidFill>
                  <a:srgbClr val="FFFFFF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nl-NL" altLang="nl-NL" sz="2400" dirty="0">
                <a:solidFill>
                  <a:srgbClr val="FFFFFF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nl-NL" altLang="nl-NL" sz="2400" dirty="0">
                <a:solidFill>
                  <a:srgbClr val="FFFFFF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nl-NL" altLang="nl-NL" sz="2400" dirty="0" smtClean="0">
                <a:solidFill>
                  <a:srgbClr val="FFFFFF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nl-NL" altLang="nl-NL" sz="2400" dirty="0" smtClean="0">
                <a:solidFill>
                  <a:srgbClr val="FFFFFF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nl-NL" altLang="nl-NL" sz="2400" dirty="0" smtClean="0">
                <a:solidFill>
                  <a:srgbClr val="FFFFFF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De</a:t>
            </a:r>
            <a:r>
              <a:rPr lang="nl-NL" altLang="nl-NL" sz="2000" dirty="0" smtClean="0">
                <a:solidFill>
                  <a:srgbClr val="FFFFFF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nl-NL" altLang="nl-NL" sz="2000" dirty="0" err="1">
                <a:solidFill>
                  <a:srgbClr val="FFFFFF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MedewerkerMonitor</a:t>
            </a:r>
            <a:r>
              <a:rPr lang="nl-NL" altLang="nl-NL" sz="2000" dirty="0">
                <a:solidFill>
                  <a:srgbClr val="FFFFFF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 is een onderdeel van </a:t>
            </a:r>
            <a:br>
              <a:rPr lang="nl-NL" altLang="nl-NL" sz="2000" dirty="0">
                <a:solidFill>
                  <a:srgbClr val="FFFFFF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nl-NL" altLang="nl-NL" sz="2000" dirty="0">
                <a:solidFill>
                  <a:srgbClr val="FFFFFF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ActiZ Benchmark Zorg</a:t>
            </a:r>
            <a:br>
              <a:rPr lang="nl-NL" altLang="nl-NL" sz="2000" dirty="0">
                <a:solidFill>
                  <a:srgbClr val="FFFFFF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nl-NL" altLang="nl-NL" sz="2000" dirty="0">
                <a:solidFill>
                  <a:srgbClr val="FFFFFF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nl-NL" altLang="nl-NL" sz="2000" dirty="0">
                <a:solidFill>
                  <a:srgbClr val="FFFFFF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nl-NL" altLang="nl-NL" sz="2000" dirty="0">
                <a:solidFill>
                  <a:srgbClr val="FFFFFF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www.actizbz.nl</a:t>
            </a:r>
            <a:r>
              <a:rPr lang="nl-NL" altLang="nl-NL" sz="2400" dirty="0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nl-NL" altLang="nl-NL" sz="2400" dirty="0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en-GB" sz="2000" dirty="0">
              <a:latin typeface="Calibri (Body)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5" name="Content Placeholder 14"/>
          <p:cNvPicPr>
            <a:picLocks noGrp="1" noChangeAspect="1"/>
          </p:cNvPicPr>
          <p:nvPr>
            <p:ph sz="half"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557061"/>
            <a:ext cx="3339682" cy="1142857"/>
          </a:xfrm>
        </p:spPr>
      </p:pic>
      <p:sp>
        <p:nvSpPr>
          <p:cNvPr id="13" name="Rectangle 5"/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18" name="Text Box 2"/>
          <p:cNvSpPr txBox="1">
            <a:spLocks noChangeArrowheads="1"/>
          </p:cNvSpPr>
          <p:nvPr/>
        </p:nvSpPr>
        <p:spPr bwMode="auto">
          <a:xfrm>
            <a:off x="838200" y="3251623"/>
            <a:ext cx="9673389" cy="907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</a:pPr>
            <a:r>
              <a:rPr kumimoji="0" lang="nl-NL" altLang="nl-NL" sz="53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Wat</a:t>
            </a:r>
            <a:r>
              <a:rPr kumimoji="0" lang="nl-NL" altLang="nl-NL" sz="5300" b="0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 gaat goed, en wat kan beter? </a:t>
            </a:r>
            <a:endParaRPr kumimoji="0" lang="nl-NL" altLang="nl-NL" sz="53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19" name="Text Box 8"/>
          <p:cNvSpPr txBox="1">
            <a:spLocks noChangeArrowheads="1"/>
          </p:cNvSpPr>
          <p:nvPr/>
        </p:nvSpPr>
        <p:spPr bwMode="auto">
          <a:xfrm>
            <a:off x="878598" y="11685318"/>
            <a:ext cx="10434804" cy="1343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ts val="800"/>
              </a:spcAft>
            </a:pPr>
            <a:endParaRPr lang="nl-NL" sz="3000" dirty="0" smtClean="0">
              <a:solidFill>
                <a:schemeClr val="bg1"/>
              </a:solidFill>
              <a:latin typeface="Calibri (Body)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ts val="800"/>
              </a:spcAft>
            </a:pPr>
            <a:r>
              <a:rPr lang="nl-NL" sz="3000" dirty="0" smtClean="0">
                <a:solidFill>
                  <a:schemeClr val="bg1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Geef je mening in onze jaarlijkse </a:t>
            </a:r>
            <a:r>
              <a:rPr lang="nl-NL" sz="3000" dirty="0" err="1" smtClean="0">
                <a:solidFill>
                  <a:schemeClr val="bg1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MedewerkerMonitor</a:t>
            </a:r>
            <a:r>
              <a:rPr lang="nl-NL" sz="3000" dirty="0" smtClean="0">
                <a:solidFill>
                  <a:schemeClr val="bg1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!</a:t>
            </a:r>
          </a:p>
          <a:p>
            <a:pPr eaLnBrk="0" fontAlgn="base" hangingPunct="0">
              <a:spcBef>
                <a:spcPct val="0"/>
              </a:spcBef>
              <a:spcAft>
                <a:spcPts val="800"/>
              </a:spcAft>
            </a:pPr>
            <a:r>
              <a:rPr lang="nl-NL" sz="3000" dirty="0" smtClean="0">
                <a:solidFill>
                  <a:schemeClr val="bg1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Meedoen kan tot </a:t>
            </a:r>
            <a:r>
              <a:rPr lang="nl-NL" sz="3000" dirty="0" smtClean="0">
                <a:solidFill>
                  <a:schemeClr val="bg1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[ datum ]</a:t>
            </a:r>
            <a:endParaRPr lang="nl-NL" sz="3000" dirty="0">
              <a:solidFill>
                <a:schemeClr val="bg1"/>
              </a:solidFill>
              <a:latin typeface="Calibri (Body)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ts val="800"/>
              </a:spcAft>
            </a:pPr>
            <a:r>
              <a:rPr lang="nl-NL" sz="3000" dirty="0" smtClean="0">
                <a:solidFill>
                  <a:schemeClr val="bg1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sp>
        <p:nvSpPr>
          <p:cNvPr id="20" name="Text Box 2"/>
          <p:cNvSpPr txBox="1">
            <a:spLocks noChangeArrowheads="1"/>
          </p:cNvSpPr>
          <p:nvPr/>
        </p:nvSpPr>
        <p:spPr bwMode="auto">
          <a:xfrm>
            <a:off x="8561388" y="556988"/>
            <a:ext cx="3078162" cy="902811"/>
          </a:xfrm>
          <a:prstGeom prst="rect">
            <a:avLst/>
          </a:prstGeom>
          <a:solidFill>
            <a:srgbClr val="FFFF00"/>
          </a:solidFill>
          <a:ln>
            <a:noFill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</a:pPr>
            <a:r>
              <a:rPr kumimoji="0" lang="nl-NL" altLang="nl-NL" sz="3200" b="1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[Uw Logo]</a:t>
            </a:r>
            <a:endParaRPr lang="nl-NL" altLang="nl-NL" sz="3200" b="1" i="1" dirty="0">
              <a:solidFill>
                <a:srgbClr val="000000"/>
              </a:solidFill>
              <a:latin typeface="Calibri (Body)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</a:pPr>
            <a:endParaRPr kumimoji="0" lang="nl-NL" altLang="nl-NL" sz="1400" b="1" i="1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Calibri (Body)"/>
            </a:endParaRPr>
          </a:p>
        </p:txBody>
      </p:sp>
      <p:sp>
        <p:nvSpPr>
          <p:cNvPr id="21" name="Text Box 2"/>
          <p:cNvSpPr txBox="1">
            <a:spLocks noChangeArrowheads="1"/>
          </p:cNvSpPr>
          <p:nvPr/>
        </p:nvSpPr>
        <p:spPr bwMode="auto">
          <a:xfrm>
            <a:off x="838200" y="4998221"/>
            <a:ext cx="10801350" cy="6966010"/>
          </a:xfrm>
          <a:prstGeom prst="rect">
            <a:avLst/>
          </a:prstGeom>
          <a:solidFill>
            <a:srgbClr val="FFFF00"/>
          </a:solidFill>
          <a:ln>
            <a:noFill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</a:pPr>
            <a:endParaRPr kumimoji="0" lang="nl-NL" altLang="nl-NL" sz="2000" b="1" i="1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</a:pPr>
            <a:r>
              <a:rPr kumimoji="0" lang="nl-NL" altLang="nl-NL" sz="2000" b="1" i="1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ea typeface="Open Sans" panose="020B0606030504020204" pitchFamily="34" charset="0"/>
                <a:cs typeface="Open Sans" panose="020B0606030504020204" pitchFamily="34" charset="0"/>
              </a:rPr>
              <a:t>[Plaats</a:t>
            </a:r>
            <a:r>
              <a:rPr kumimoji="0" lang="nl-NL" altLang="nl-NL" sz="2000" b="1" i="1" u="none" strike="noStrike" cap="none" normalizeH="0" dirty="0" smtClean="0">
                <a:ln>
                  <a:noFill/>
                </a:ln>
                <a:solidFill>
                  <a:srgbClr val="000000"/>
                </a:solidFill>
                <a:effectLst/>
                <a:ea typeface="Open Sans" panose="020B0606030504020204" pitchFamily="34" charset="0"/>
                <a:cs typeface="Open Sans" panose="020B0606030504020204" pitchFamily="34" charset="0"/>
              </a:rPr>
              <a:t>  hier een </a:t>
            </a:r>
            <a:r>
              <a:rPr lang="nl-NL" altLang="nl-NL" sz="2000" b="1" i="1" dirty="0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nl-NL" altLang="nl-NL" sz="2000" b="1" i="1" dirty="0" smtClean="0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afbeelding …] 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</a:pPr>
            <a:endParaRPr kumimoji="0" lang="nl-NL" altLang="nl-NL" sz="2000" b="1" i="1" u="none" strike="noStrike" cap="none" normalizeH="0" dirty="0" smtClean="0">
              <a:ln>
                <a:noFill/>
              </a:ln>
              <a:solidFill>
                <a:srgbClr val="000000"/>
              </a:solidFill>
              <a:effectLst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</a:pPr>
            <a:r>
              <a:rPr lang="nl-NL" altLang="nl-NL" sz="2000" i="1" dirty="0" smtClean="0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[een f</a:t>
            </a:r>
            <a:r>
              <a:rPr kumimoji="0" lang="nl-NL" altLang="nl-NL" sz="2000" i="1" u="none" strike="noStrike" cap="none" normalizeH="0" dirty="0" smtClean="0">
                <a:ln>
                  <a:noFill/>
                </a:ln>
                <a:solidFill>
                  <a:srgbClr val="000000"/>
                </a:solidFill>
                <a:effectLst/>
                <a:ea typeface="Open Sans" panose="020B0606030504020204" pitchFamily="34" charset="0"/>
                <a:cs typeface="Open Sans" panose="020B0606030504020204" pitchFamily="34" charset="0"/>
              </a:rPr>
              <a:t>oto van een  medewerker in een prettige werksituatie]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</a:pPr>
            <a:r>
              <a:rPr lang="nl-NL" altLang="nl-NL" sz="2000" i="1" dirty="0" smtClean="0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[ een  grafiek die de respons over de jaren weergeeft =&gt;  op naar de xx %]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</a:pPr>
            <a:r>
              <a:rPr lang="nl-NL" altLang="nl-NL" sz="2000" i="1" dirty="0" smtClean="0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[een foto van een werksituatie die verbeterd is </a:t>
            </a:r>
            <a:r>
              <a:rPr lang="nl-NL" altLang="nl-NL" sz="2000" i="1" dirty="0" err="1" smtClean="0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nalv</a:t>
            </a:r>
            <a:r>
              <a:rPr lang="nl-NL" altLang="nl-NL" sz="2000" i="1" dirty="0" smtClean="0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resultaten vorig jaar]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</a:pPr>
            <a:r>
              <a:rPr lang="nl-NL" altLang="nl-NL" sz="2000" i="1" dirty="0" smtClean="0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[een diagram met de belangrijkste resultaten van vorig jaar =&gt;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</a:pPr>
            <a:r>
              <a:rPr lang="nl-NL" altLang="nl-NL" sz="2000" i="1" dirty="0" smtClean="0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Hoe gaat het nu? ]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</a:pPr>
            <a:r>
              <a:rPr lang="nl-NL" altLang="nl-NL" sz="2000" i="1" dirty="0" smtClean="0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[een </a:t>
            </a:r>
            <a:r>
              <a:rPr lang="nl-NL" altLang="nl-NL" sz="2000" i="1" dirty="0" err="1" smtClean="0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ícoontje</a:t>
            </a:r>
            <a:r>
              <a:rPr lang="nl-NL" altLang="nl-NL" sz="2000" i="1" dirty="0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]</a:t>
            </a:r>
            <a:r>
              <a:rPr lang="nl-NL" altLang="nl-NL" sz="2000" i="1" dirty="0" smtClean="0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</a:pPr>
            <a:r>
              <a:rPr lang="nl-NL" altLang="nl-NL" sz="2000" i="1" dirty="0" smtClean="0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[ een bestuurder/manager/medewerker met een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</a:pPr>
            <a:r>
              <a:rPr lang="nl-NL" altLang="nl-NL" sz="2000" i="1" dirty="0" smtClean="0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activerende quote over de MM]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</a:pPr>
            <a:r>
              <a:rPr lang="nl-NL" altLang="nl-NL" sz="2000" i="1" dirty="0" smtClean="0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[of  een foto van hen kijkend in een spiegel]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</a:pPr>
            <a:r>
              <a:rPr lang="nl-NL" altLang="nl-NL" sz="2000" i="1" dirty="0" smtClean="0">
                <a:solidFill>
                  <a:srgbClr val="0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[een medewerker aan een echte monitor: hoe staan we ervoor?]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</a:pPr>
            <a:endParaRPr lang="nl-NL" altLang="nl-NL" sz="2000" i="1" dirty="0">
              <a:solidFill>
                <a:srgbClr val="000000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</a:pPr>
            <a:endParaRPr lang="nl-NL" altLang="nl-NL" sz="2000" i="1" dirty="0" smtClean="0">
              <a:solidFill>
                <a:srgbClr val="000000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</a:pPr>
            <a:endParaRPr lang="nl-NL" altLang="nl-NL" sz="2000" b="1" i="1" dirty="0" smtClean="0">
              <a:solidFill>
                <a:srgbClr val="000000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</a:pPr>
            <a:endParaRPr kumimoji="0" lang="nl-NL" altLang="nl-NL" sz="2000" b="1" i="1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940546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9801670"/>
              </p:ext>
            </p:extLst>
          </p:nvPr>
        </p:nvGraphicFramePr>
        <p:xfrm>
          <a:off x="4167859" y="6682062"/>
          <a:ext cx="670" cy="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167859" y="6682062"/>
                        <a:ext cx="670" cy="6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96254" y="2311659"/>
            <a:ext cx="12384505" cy="14319162"/>
          </a:xfrm>
          <a:prstGeom prst="rect">
            <a:avLst/>
          </a:prstGeom>
          <a:gradFill rotWithShape="1">
            <a:gsLst>
              <a:gs pos="0">
                <a:srgbClr val="793278"/>
              </a:gs>
              <a:gs pos="100000">
                <a:srgbClr val="EA9336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  <p:pic>
        <p:nvPicPr>
          <p:cNvPr id="15" name="Content Placeholder 14"/>
          <p:cNvPicPr>
            <a:picLocks noGrp="1" noChangeAspect="1"/>
          </p:cNvPicPr>
          <p:nvPr>
            <p:ph sz="half"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557061"/>
            <a:ext cx="3339682" cy="1142857"/>
          </a:xfrm>
        </p:spPr>
      </p:pic>
      <p:sp>
        <p:nvSpPr>
          <p:cNvPr id="13" name="Rectangle 5"/>
          <p:cNvSpPr>
            <a:spLocks noChangeArrowheads="1"/>
          </p:cNvSpPr>
          <p:nvPr/>
        </p:nvSpPr>
        <p:spPr bwMode="auto">
          <a:xfrm>
            <a:off x="0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00647" y="801581"/>
            <a:ext cx="2802478" cy="715277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0655" y="5436107"/>
            <a:ext cx="9390686" cy="6259849"/>
          </a:xfrm>
          <a:prstGeom prst="rect">
            <a:avLst/>
          </a:prstGeom>
        </p:spPr>
      </p:pic>
      <p:sp>
        <p:nvSpPr>
          <p:cNvPr id="16" name="Text Box 2"/>
          <p:cNvSpPr txBox="1">
            <a:spLocks noChangeArrowheads="1"/>
          </p:cNvSpPr>
          <p:nvPr/>
        </p:nvSpPr>
        <p:spPr bwMode="auto">
          <a:xfrm>
            <a:off x="838200" y="3251623"/>
            <a:ext cx="9673389" cy="907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</a:pPr>
            <a:r>
              <a:rPr kumimoji="0" lang="nl-NL" altLang="nl-NL" sz="53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Wat</a:t>
            </a:r>
            <a:r>
              <a:rPr kumimoji="0" lang="nl-NL" altLang="nl-NL" sz="5300" b="0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 gaat goed, en wat kan beter? </a:t>
            </a:r>
            <a:endParaRPr kumimoji="0" lang="nl-NL" altLang="nl-NL" sz="53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17" name="Text Box 8"/>
          <p:cNvSpPr txBox="1">
            <a:spLocks noChangeArrowheads="1"/>
          </p:cNvSpPr>
          <p:nvPr/>
        </p:nvSpPr>
        <p:spPr bwMode="auto">
          <a:xfrm>
            <a:off x="878598" y="11685318"/>
            <a:ext cx="10434804" cy="1343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ts val="800"/>
              </a:spcAft>
            </a:pPr>
            <a:endParaRPr lang="nl-NL" sz="3000" dirty="0" smtClean="0">
              <a:solidFill>
                <a:schemeClr val="bg1"/>
              </a:solidFill>
              <a:latin typeface="Calibri (Body)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ts val="800"/>
              </a:spcAft>
            </a:pPr>
            <a:r>
              <a:rPr lang="nl-NL" sz="3000" dirty="0" smtClean="0">
                <a:solidFill>
                  <a:schemeClr val="bg1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Geef je mening in onze jaarlijkse </a:t>
            </a:r>
            <a:r>
              <a:rPr lang="nl-NL" sz="3000" dirty="0" err="1" smtClean="0">
                <a:solidFill>
                  <a:schemeClr val="bg1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MedewerkerMonitor</a:t>
            </a:r>
            <a:r>
              <a:rPr lang="nl-NL" sz="3000" dirty="0" smtClean="0">
                <a:solidFill>
                  <a:schemeClr val="bg1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!</a:t>
            </a:r>
          </a:p>
          <a:p>
            <a:pPr eaLnBrk="0" fontAlgn="base" hangingPunct="0">
              <a:spcBef>
                <a:spcPct val="0"/>
              </a:spcBef>
              <a:spcAft>
                <a:spcPts val="800"/>
              </a:spcAft>
            </a:pPr>
            <a:r>
              <a:rPr lang="nl-NL" sz="3000" dirty="0" smtClean="0">
                <a:solidFill>
                  <a:schemeClr val="bg1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Meedoen kan tot </a:t>
            </a:r>
            <a:r>
              <a:rPr lang="nl-NL" sz="3000" dirty="0" smtClean="0">
                <a:solidFill>
                  <a:schemeClr val="bg1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[ datum ]</a:t>
            </a:r>
            <a:endParaRPr lang="nl-NL" sz="3000" dirty="0">
              <a:solidFill>
                <a:schemeClr val="bg1"/>
              </a:solidFill>
              <a:latin typeface="Calibri (Body)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ts val="800"/>
              </a:spcAft>
            </a:pPr>
            <a:r>
              <a:rPr lang="nl-NL" sz="3000" dirty="0" smtClean="0">
                <a:solidFill>
                  <a:schemeClr val="bg1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sp>
        <p:nvSpPr>
          <p:cNvPr id="23" name="Title 9"/>
          <p:cNvSpPr txBox="1">
            <a:spLocks/>
          </p:cNvSpPr>
          <p:nvPr/>
        </p:nvSpPr>
        <p:spPr>
          <a:xfrm>
            <a:off x="838200" y="12693945"/>
            <a:ext cx="10515600" cy="31420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 eaLnBrk="0" fontAlgn="base" hangingPunct="0">
              <a:lnSpc>
                <a:spcPct val="100000"/>
              </a:lnSpc>
              <a:spcAft>
                <a:spcPts val="800"/>
              </a:spcAft>
            </a:pPr>
            <a:r>
              <a:rPr lang="nl-NL" altLang="nl-NL" sz="2400" smtClean="0">
                <a:solidFill>
                  <a:srgbClr val="FFFFFF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nl-NL" altLang="nl-NL" sz="2400" smtClean="0">
                <a:solidFill>
                  <a:srgbClr val="FFFFFF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nl-NL" altLang="nl-NL" sz="2400" smtClean="0">
                <a:solidFill>
                  <a:srgbClr val="FFFFFF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nl-NL" altLang="nl-NL" sz="2400" smtClean="0">
                <a:solidFill>
                  <a:srgbClr val="FFFFFF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nl-NL" altLang="nl-NL" sz="2400" smtClean="0">
                <a:solidFill>
                  <a:srgbClr val="FFFFFF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nl-NL" altLang="nl-NL" sz="2400" smtClean="0">
                <a:solidFill>
                  <a:srgbClr val="FFFFFF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nl-NL" altLang="nl-NL" sz="2400" smtClean="0">
                <a:solidFill>
                  <a:srgbClr val="FFFFFF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nl-NL" altLang="nl-NL" sz="2400" smtClean="0">
                <a:solidFill>
                  <a:srgbClr val="FFFFFF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nl-NL" altLang="nl-NL" sz="2400" smtClean="0">
                <a:solidFill>
                  <a:srgbClr val="FFFFFF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nl-NL" altLang="nl-NL" sz="2400" smtClean="0">
                <a:solidFill>
                  <a:srgbClr val="FFFFFF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nl-NL" altLang="nl-NL" sz="2400" smtClean="0">
                <a:solidFill>
                  <a:srgbClr val="FFFFFF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De</a:t>
            </a:r>
            <a:r>
              <a:rPr lang="nl-NL" altLang="nl-NL" sz="2000" smtClean="0">
                <a:solidFill>
                  <a:srgbClr val="FFFFFF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 MedewerkerMonitor is een onderdeel van </a:t>
            </a:r>
            <a:br>
              <a:rPr lang="nl-NL" altLang="nl-NL" sz="2000" smtClean="0">
                <a:solidFill>
                  <a:srgbClr val="FFFFFF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nl-NL" altLang="nl-NL" sz="2000" smtClean="0">
                <a:solidFill>
                  <a:srgbClr val="FFFFFF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ActiZ Benchmark Zorg</a:t>
            </a:r>
            <a:br>
              <a:rPr lang="nl-NL" altLang="nl-NL" sz="2000" smtClean="0">
                <a:solidFill>
                  <a:srgbClr val="FFFFFF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nl-NL" altLang="nl-NL" sz="2000" smtClean="0">
                <a:solidFill>
                  <a:srgbClr val="FFFFFF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nl-NL" altLang="nl-NL" sz="2000" smtClean="0">
                <a:solidFill>
                  <a:srgbClr val="FFFFFF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nl-NL" altLang="nl-NL" sz="2000" smtClean="0">
                <a:solidFill>
                  <a:srgbClr val="FFFFFF"/>
                </a:solidFill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>www.actizbz.nl</a:t>
            </a:r>
            <a:r>
              <a:rPr lang="nl-NL" altLang="nl-NL" sz="2400" smtClean="0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nl-NL" altLang="nl-NL" sz="2400" smtClean="0">
                <a:latin typeface="Calibri (Body)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en-GB" sz="2000" dirty="0">
              <a:latin typeface="Calibri (Body)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-6649416" y="1124527"/>
            <a:ext cx="579664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8000" dirty="0" smtClean="0"/>
              <a:t>Voorbeeld</a:t>
            </a:r>
            <a:endParaRPr lang="nl-NL" sz="8000" dirty="0"/>
          </a:p>
        </p:txBody>
      </p:sp>
    </p:spTree>
    <p:extLst>
      <p:ext uri="{BB962C8B-B14F-4D97-AF65-F5344CB8AC3E}">
        <p14:creationId xmlns:p14="http://schemas.microsoft.com/office/powerpoint/2010/main" val="498564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32</TotalTime>
  <Words>156</Words>
  <Application>Microsoft Office PowerPoint</Application>
  <PresentationFormat>Custom</PresentationFormat>
  <Paragraphs>29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rial</vt:lpstr>
      <vt:lpstr>Calibri</vt:lpstr>
      <vt:lpstr>Calibri (Body)</vt:lpstr>
      <vt:lpstr>Calibri Light</vt:lpstr>
      <vt:lpstr>Open Sans</vt:lpstr>
      <vt:lpstr>Office Theme</vt:lpstr>
      <vt:lpstr>think-cell Slide</vt:lpstr>
      <vt:lpstr>     De MedewerkerMonitor is een onderdeel van  ActiZ Benchmark Zorg  www.actizbz.nl </vt:lpstr>
      <vt:lpstr>PowerPoint Presentation</vt:lpstr>
    </vt:vector>
  </TitlesOfParts>
  <Company>Deloitt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rul, Stephanie (NL - Amstelveen)</dc:creator>
  <cp:lastModifiedBy>Wijsman, Max (NL - Amstelveen)</cp:lastModifiedBy>
  <cp:revision>52</cp:revision>
  <cp:lastPrinted>2015-08-27T14:34:54Z</cp:lastPrinted>
  <dcterms:created xsi:type="dcterms:W3CDTF">2015-08-26T09:02:08Z</dcterms:created>
  <dcterms:modified xsi:type="dcterms:W3CDTF">2016-01-14T11:26:13Z</dcterms:modified>
</cp:coreProperties>
</file>